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332" r:id="rId2"/>
    <p:sldId id="2333" r:id="rId3"/>
    <p:sldId id="2334" r:id="rId4"/>
  </p:sldIdLst>
  <p:sldSz cx="12192000" cy="6858000"/>
  <p:notesSz cx="6858000" cy="9144000"/>
  <p:custDataLst>
    <p:tags r:id="rId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52C-45BC-B4F3-06B69B914FD7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F3E-4B43-80F3-84A59608F1F5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moravský kraj</c:v>
                </c:pt>
                <c:pt idx="2">
                  <c:v>Středočeský kraj</c:v>
                </c:pt>
                <c:pt idx="3">
                  <c:v>Jihočeský kraj</c:v>
                </c:pt>
                <c:pt idx="4">
                  <c:v>Pardubický kraj</c:v>
                </c:pt>
                <c:pt idx="5">
                  <c:v>Plzeňský kraj</c:v>
                </c:pt>
                <c:pt idx="6">
                  <c:v>Zlínský kraj</c:v>
                </c:pt>
                <c:pt idx="7">
                  <c:v>ČR</c:v>
                </c:pt>
                <c:pt idx="8">
                  <c:v>Moravskoslezský kraj</c:v>
                </c:pt>
                <c:pt idx="9">
                  <c:v>Liberecký kraj</c:v>
                </c:pt>
                <c:pt idx="10">
                  <c:v>Olomoucký kraj</c:v>
                </c:pt>
                <c:pt idx="11">
                  <c:v>Královéhrade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59595959595900005</c:v>
                </c:pt>
                <c:pt idx="1">
                  <c:v>0.429333333333</c:v>
                </c:pt>
                <c:pt idx="2">
                  <c:v>0.41880341880299998</c:v>
                </c:pt>
                <c:pt idx="3">
                  <c:v>0.41496598639400001</c:v>
                </c:pt>
                <c:pt idx="4">
                  <c:v>0.38167938931200002</c:v>
                </c:pt>
                <c:pt idx="5">
                  <c:v>0.37238493723799998</c:v>
                </c:pt>
                <c:pt idx="6">
                  <c:v>0.32530120481899999</c:v>
                </c:pt>
                <c:pt idx="7">
                  <c:v>0.30191873589099999</c:v>
                </c:pt>
                <c:pt idx="8">
                  <c:v>0.29740518962000001</c:v>
                </c:pt>
                <c:pt idx="9">
                  <c:v>0.265306122448</c:v>
                </c:pt>
                <c:pt idx="10">
                  <c:v>0.26262626262599997</c:v>
                </c:pt>
                <c:pt idx="11">
                  <c:v>0.260869565217</c:v>
                </c:pt>
                <c:pt idx="12">
                  <c:v>0.25193798449600002</c:v>
                </c:pt>
                <c:pt idx="13">
                  <c:v>0.18072289156599999</c:v>
                </c:pt>
                <c:pt idx="14">
                  <c:v>0.166878980891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7C9-4D64-AE65-88656EB3CEB4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Zlínský kraj</c:v>
                </c:pt>
                <c:pt idx="3">
                  <c:v>Jihomoravský kraj</c:v>
                </c:pt>
                <c:pt idx="4">
                  <c:v>Pardubický kraj</c:v>
                </c:pt>
                <c:pt idx="5">
                  <c:v>Plzeňský kraj</c:v>
                </c:pt>
                <c:pt idx="6">
                  <c:v>Středočeský kraj</c:v>
                </c:pt>
                <c:pt idx="7">
                  <c:v>Olomoucký kraj</c:v>
                </c:pt>
                <c:pt idx="8">
                  <c:v>ČR</c:v>
                </c:pt>
                <c:pt idx="9">
                  <c:v>Moravskoslezský kraj</c:v>
                </c:pt>
                <c:pt idx="10">
                  <c:v>Ústecký kraj</c:v>
                </c:pt>
                <c:pt idx="11">
                  <c:v>Liberecký kraj</c:v>
                </c:pt>
                <c:pt idx="12">
                  <c:v>Královéhrad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516129032258</c:v>
                </c:pt>
                <c:pt idx="1">
                  <c:v>0.359375</c:v>
                </c:pt>
                <c:pt idx="2">
                  <c:v>0.31395348837199999</c:v>
                </c:pt>
                <c:pt idx="3">
                  <c:v>0.31219512195100002</c:v>
                </c:pt>
                <c:pt idx="4">
                  <c:v>0.24193548387</c:v>
                </c:pt>
                <c:pt idx="5">
                  <c:v>0.23571428571399999</c:v>
                </c:pt>
                <c:pt idx="6">
                  <c:v>0.226086956521</c:v>
                </c:pt>
                <c:pt idx="7">
                  <c:v>0.22602739726000001</c:v>
                </c:pt>
                <c:pt idx="8">
                  <c:v>0.20917612234800001</c:v>
                </c:pt>
                <c:pt idx="9">
                  <c:v>0.19093851132600001</c:v>
                </c:pt>
                <c:pt idx="10">
                  <c:v>0.184873949579</c:v>
                </c:pt>
                <c:pt idx="11">
                  <c:v>0.17948717948699999</c:v>
                </c:pt>
                <c:pt idx="12">
                  <c:v>0.17599999999999999</c:v>
                </c:pt>
                <c:pt idx="13">
                  <c:v>0.16279069767400001</c:v>
                </c:pt>
                <c:pt idx="14">
                  <c:v>9.93657505279999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E36-41C8-8484-20FFE9915F0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Pardubický kraj</c:v>
                </c:pt>
                <c:pt idx="3">
                  <c:v>Jihomoravský kraj</c:v>
                </c:pt>
                <c:pt idx="4">
                  <c:v>Ústecký kraj</c:v>
                </c:pt>
                <c:pt idx="5">
                  <c:v>Olomoucký kraj</c:v>
                </c:pt>
                <c:pt idx="6">
                  <c:v>Plzeňský kraj</c:v>
                </c:pt>
                <c:pt idx="7">
                  <c:v>Zlín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Královéhrad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36198064883300002</c:v>
                </c:pt>
                <c:pt idx="1">
                  <c:v>0.31578947368400001</c:v>
                </c:pt>
                <c:pt idx="2">
                  <c:v>0.30371203599500002</c:v>
                </c:pt>
                <c:pt idx="3">
                  <c:v>0.287596899224</c:v>
                </c:pt>
                <c:pt idx="4">
                  <c:v>0.28056112224399998</c:v>
                </c:pt>
                <c:pt idx="5">
                  <c:v>0.27762619372399999</c:v>
                </c:pt>
                <c:pt idx="6">
                  <c:v>0.26642555756399999</c:v>
                </c:pt>
                <c:pt idx="7">
                  <c:v>0.253151260504</c:v>
                </c:pt>
                <c:pt idx="8">
                  <c:v>0.23640744797300001</c:v>
                </c:pt>
                <c:pt idx="9">
                  <c:v>0.20913461538399999</c:v>
                </c:pt>
                <c:pt idx="10">
                  <c:v>0.19157223796</c:v>
                </c:pt>
                <c:pt idx="11">
                  <c:v>0.17177242888399999</c:v>
                </c:pt>
                <c:pt idx="12">
                  <c:v>0.14666666666600001</c:v>
                </c:pt>
                <c:pt idx="13">
                  <c:v>0.143540669856</c:v>
                </c:pt>
                <c:pt idx="14">
                  <c:v>0.1385791653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9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4104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9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40754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9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60998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023493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9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92034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9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7054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9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2667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9.11.2021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4160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9.11.2021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0392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9.11.2021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468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9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6367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9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5056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A3A0F-9B2E-4AAE-BF10-3AD84EB845DD}" type="datetimeFigureOut">
              <a:rPr lang="cs-CZ" smtClean="0"/>
              <a:t>19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4966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80559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178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2970950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5774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7773658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27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</TotalTime>
  <Words>47</Words>
  <Application>Microsoft Office PowerPoint</Application>
  <PresentationFormat>Širokoúhlá obrazovka</PresentationFormat>
  <Paragraphs>6</Paragraphs>
  <Slides>3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Podíl (%) volné aktuálně nahlášené kapacity JIP</vt:lpstr>
      <vt:lpstr>Podíl (%) volné aktuálně nahlášené kapacity UPV</vt:lpstr>
      <vt:lpstr>Podíl (%) volné aktuálně nahlášené kapacity standartních lůžek s kyslíke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Pohlová Radka Mgr.</cp:lastModifiedBy>
  <cp:revision>15</cp:revision>
  <dcterms:created xsi:type="dcterms:W3CDTF">2021-10-29T17:14:18Z</dcterms:created>
  <dcterms:modified xsi:type="dcterms:W3CDTF">2021-11-19T18:51:53Z</dcterms:modified>
</cp:coreProperties>
</file>